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8B0136-D5D0-4F8C-9C7F-DE972DA161EA}" v="56" dt="2023-03-03T22:52:15.2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3" d="100"/>
          <a:sy n="103" d="100"/>
        </p:scale>
        <p:origin x="150" y="648"/>
      </p:cViewPr>
      <p:guideLst>
        <p:guide orient="horz" pos="648"/>
        <p:guide pos="3576"/>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DC8B0136-D5D0-4F8C-9C7F-DE972DA161EA}"/>
    <pc:docChg chg="custSel addSld delSld modSld">
      <pc:chgData name="Roberto Gallardo" userId="49a044883f185952" providerId="LiveId" clId="{DC8B0136-D5D0-4F8C-9C7F-DE972DA161EA}" dt="2023-03-03T22:52:32.787" v="239" actId="1076"/>
      <pc:docMkLst>
        <pc:docMk/>
      </pc:docMkLst>
      <pc:sldChg chg="del">
        <pc:chgData name="Roberto Gallardo" userId="49a044883f185952" providerId="LiveId" clId="{DC8B0136-D5D0-4F8C-9C7F-DE972DA161EA}" dt="2023-02-25T14:41:54.979" v="4" actId="47"/>
        <pc:sldMkLst>
          <pc:docMk/>
          <pc:sldMk cId="1175010214" sldId="261"/>
        </pc:sldMkLst>
      </pc:sldChg>
      <pc:sldChg chg="addSp delSp modSp mod">
        <pc:chgData name="Roberto Gallardo" userId="49a044883f185952" providerId="LiveId" clId="{DC8B0136-D5D0-4F8C-9C7F-DE972DA161EA}" dt="2023-03-03T22:44:34.253" v="21" actId="1076"/>
        <pc:sldMkLst>
          <pc:docMk/>
          <pc:sldMk cId="1418533539" sldId="271"/>
        </pc:sldMkLst>
        <pc:picChg chg="add del mod">
          <ac:chgData name="Roberto Gallardo" userId="49a044883f185952" providerId="LiveId" clId="{DC8B0136-D5D0-4F8C-9C7F-DE972DA161EA}" dt="2023-03-03T22:43:41.499" v="8" actId="478"/>
          <ac:picMkLst>
            <pc:docMk/>
            <pc:sldMk cId="1418533539" sldId="271"/>
            <ac:picMk id="6" creationId="{3F77DCD9-856F-933C-9081-BF365BC6D0A2}"/>
          </ac:picMkLst>
        </pc:picChg>
        <pc:picChg chg="add del mod">
          <ac:chgData name="Roberto Gallardo" userId="49a044883f185952" providerId="LiveId" clId="{DC8B0136-D5D0-4F8C-9C7F-DE972DA161EA}" dt="2023-03-03T22:43:50.602" v="12" actId="478"/>
          <ac:picMkLst>
            <pc:docMk/>
            <pc:sldMk cId="1418533539" sldId="271"/>
            <ac:picMk id="8" creationId="{D4589971-B243-3B14-017D-B7AC9039278C}"/>
          </ac:picMkLst>
        </pc:picChg>
        <pc:picChg chg="add mod">
          <ac:chgData name="Roberto Gallardo" userId="49a044883f185952" providerId="LiveId" clId="{DC8B0136-D5D0-4F8C-9C7F-DE972DA161EA}" dt="2023-03-03T22:44:34.253" v="21" actId="1076"/>
          <ac:picMkLst>
            <pc:docMk/>
            <pc:sldMk cId="1418533539" sldId="271"/>
            <ac:picMk id="10" creationId="{B308A145-1C50-32AD-7C22-AACBEC6B3E28}"/>
          </ac:picMkLst>
        </pc:picChg>
      </pc:sldChg>
      <pc:sldChg chg="addSp modSp mod">
        <pc:chgData name="Roberto Gallardo" userId="49a044883f185952" providerId="LiveId" clId="{DC8B0136-D5D0-4F8C-9C7F-DE972DA161EA}" dt="2023-03-03T22:47:26.894" v="89" actId="1076"/>
        <pc:sldMkLst>
          <pc:docMk/>
          <pc:sldMk cId="2124848710" sldId="281"/>
        </pc:sldMkLst>
        <pc:picChg chg="add mod">
          <ac:chgData name="Roberto Gallardo" userId="49a044883f185952" providerId="LiveId" clId="{DC8B0136-D5D0-4F8C-9C7F-DE972DA161EA}" dt="2023-03-03T22:47:26.894" v="89" actId="1076"/>
          <ac:picMkLst>
            <pc:docMk/>
            <pc:sldMk cId="2124848710" sldId="281"/>
            <ac:picMk id="6" creationId="{DBCFAA28-81C6-9D25-E8FC-9FCE562FB5E4}"/>
          </ac:picMkLst>
        </pc:picChg>
      </pc:sldChg>
      <pc:sldChg chg="addSp modSp mod">
        <pc:chgData name="Roberto Gallardo" userId="49a044883f185952" providerId="LiveId" clId="{DC8B0136-D5D0-4F8C-9C7F-DE972DA161EA}" dt="2023-03-03T22:47:51.646" v="100" actId="1076"/>
        <pc:sldMkLst>
          <pc:docMk/>
          <pc:sldMk cId="2028175529" sldId="282"/>
        </pc:sldMkLst>
        <pc:picChg chg="add mod">
          <ac:chgData name="Roberto Gallardo" userId="49a044883f185952" providerId="LiveId" clId="{DC8B0136-D5D0-4F8C-9C7F-DE972DA161EA}" dt="2023-03-03T22:47:51.646" v="100" actId="1076"/>
          <ac:picMkLst>
            <pc:docMk/>
            <pc:sldMk cId="2028175529" sldId="282"/>
            <ac:picMk id="7" creationId="{95859502-585D-33A2-191B-8F45B6516008}"/>
          </ac:picMkLst>
        </pc:picChg>
      </pc:sldChg>
      <pc:sldChg chg="addSp modSp mod">
        <pc:chgData name="Roberto Gallardo" userId="49a044883f185952" providerId="LiveId" clId="{DC8B0136-D5D0-4F8C-9C7F-DE972DA161EA}" dt="2023-03-03T22:48:17.538" v="111" actId="1076"/>
        <pc:sldMkLst>
          <pc:docMk/>
          <pc:sldMk cId="1326517747" sldId="283"/>
        </pc:sldMkLst>
        <pc:picChg chg="add mod">
          <ac:chgData name="Roberto Gallardo" userId="49a044883f185952" providerId="LiveId" clId="{DC8B0136-D5D0-4F8C-9C7F-DE972DA161EA}" dt="2023-03-03T22:48:17.538" v="111" actId="1076"/>
          <ac:picMkLst>
            <pc:docMk/>
            <pc:sldMk cId="1326517747" sldId="283"/>
            <ac:picMk id="7" creationId="{7E76EC5B-55F9-9ECC-EDDF-EB4265D551C6}"/>
          </ac:picMkLst>
        </pc:picChg>
      </pc:sldChg>
      <pc:sldChg chg="addSp modSp mod">
        <pc:chgData name="Roberto Gallardo" userId="49a044883f185952" providerId="LiveId" clId="{DC8B0136-D5D0-4F8C-9C7F-DE972DA161EA}" dt="2023-03-03T22:48:37.660" v="120" actId="1076"/>
        <pc:sldMkLst>
          <pc:docMk/>
          <pc:sldMk cId="783739251" sldId="284"/>
        </pc:sldMkLst>
        <pc:picChg chg="add mod">
          <ac:chgData name="Roberto Gallardo" userId="49a044883f185952" providerId="LiveId" clId="{DC8B0136-D5D0-4F8C-9C7F-DE972DA161EA}" dt="2023-03-03T22:48:37.660" v="120" actId="1076"/>
          <ac:picMkLst>
            <pc:docMk/>
            <pc:sldMk cId="783739251" sldId="284"/>
            <ac:picMk id="7" creationId="{74290E9D-CDA2-64E7-FCCD-E8512B174772}"/>
          </ac:picMkLst>
        </pc:picChg>
      </pc:sldChg>
      <pc:sldChg chg="addSp modSp mod">
        <pc:chgData name="Roberto Gallardo" userId="49a044883f185952" providerId="LiveId" clId="{DC8B0136-D5D0-4F8C-9C7F-DE972DA161EA}" dt="2023-03-03T22:48:58.778" v="130" actId="1076"/>
        <pc:sldMkLst>
          <pc:docMk/>
          <pc:sldMk cId="1676122233" sldId="285"/>
        </pc:sldMkLst>
        <pc:picChg chg="add mod">
          <ac:chgData name="Roberto Gallardo" userId="49a044883f185952" providerId="LiveId" clId="{DC8B0136-D5D0-4F8C-9C7F-DE972DA161EA}" dt="2023-03-03T22:48:58.778" v="130" actId="1076"/>
          <ac:picMkLst>
            <pc:docMk/>
            <pc:sldMk cId="1676122233" sldId="285"/>
            <ac:picMk id="7" creationId="{A2CA23FC-6E55-695F-AD0D-8EDDBA38A731}"/>
          </ac:picMkLst>
        </pc:picChg>
      </pc:sldChg>
      <pc:sldChg chg="addSp modSp mod">
        <pc:chgData name="Roberto Gallardo" userId="49a044883f185952" providerId="LiveId" clId="{DC8B0136-D5D0-4F8C-9C7F-DE972DA161EA}" dt="2023-03-03T22:49:17.354" v="140" actId="1076"/>
        <pc:sldMkLst>
          <pc:docMk/>
          <pc:sldMk cId="3100398757" sldId="286"/>
        </pc:sldMkLst>
        <pc:picChg chg="add mod">
          <ac:chgData name="Roberto Gallardo" userId="49a044883f185952" providerId="LiveId" clId="{DC8B0136-D5D0-4F8C-9C7F-DE972DA161EA}" dt="2023-03-03T22:49:17.354" v="140" actId="1076"/>
          <ac:picMkLst>
            <pc:docMk/>
            <pc:sldMk cId="3100398757" sldId="286"/>
            <ac:picMk id="7" creationId="{B75D2C63-9121-12F3-CB7C-DFE17354B888}"/>
          </ac:picMkLst>
        </pc:picChg>
      </pc:sldChg>
      <pc:sldChg chg="addSp modSp mod">
        <pc:chgData name="Roberto Gallardo" userId="49a044883f185952" providerId="LiveId" clId="{DC8B0136-D5D0-4F8C-9C7F-DE972DA161EA}" dt="2023-03-03T22:49:45.321" v="154" actId="1076"/>
        <pc:sldMkLst>
          <pc:docMk/>
          <pc:sldMk cId="1546475425" sldId="287"/>
        </pc:sldMkLst>
        <pc:picChg chg="add mod">
          <ac:chgData name="Roberto Gallardo" userId="49a044883f185952" providerId="LiveId" clId="{DC8B0136-D5D0-4F8C-9C7F-DE972DA161EA}" dt="2023-03-03T22:49:45.321" v="154" actId="1076"/>
          <ac:picMkLst>
            <pc:docMk/>
            <pc:sldMk cId="1546475425" sldId="287"/>
            <ac:picMk id="7" creationId="{F0F0A071-BD48-458D-1454-436FEE85E0A3}"/>
          </ac:picMkLst>
        </pc:picChg>
      </pc:sldChg>
      <pc:sldChg chg="addSp modSp mod">
        <pc:chgData name="Roberto Gallardo" userId="49a044883f185952" providerId="LiveId" clId="{DC8B0136-D5D0-4F8C-9C7F-DE972DA161EA}" dt="2023-03-03T22:50:47.806" v="192" actId="1076"/>
        <pc:sldMkLst>
          <pc:docMk/>
          <pc:sldMk cId="1380517306" sldId="288"/>
        </pc:sldMkLst>
        <pc:picChg chg="add mod">
          <ac:chgData name="Roberto Gallardo" userId="49a044883f185952" providerId="LiveId" clId="{DC8B0136-D5D0-4F8C-9C7F-DE972DA161EA}" dt="2023-03-03T22:50:47.806" v="192" actId="1076"/>
          <ac:picMkLst>
            <pc:docMk/>
            <pc:sldMk cId="1380517306" sldId="288"/>
            <ac:picMk id="7" creationId="{E2D9153C-504A-2E72-1415-9305B7F36DBE}"/>
          </ac:picMkLst>
        </pc:picChg>
      </pc:sldChg>
      <pc:sldChg chg="addSp modSp mod">
        <pc:chgData name="Roberto Gallardo" userId="49a044883f185952" providerId="LiveId" clId="{DC8B0136-D5D0-4F8C-9C7F-DE972DA161EA}" dt="2023-03-03T22:51:10.670" v="203" actId="1076"/>
        <pc:sldMkLst>
          <pc:docMk/>
          <pc:sldMk cId="1388671151" sldId="289"/>
        </pc:sldMkLst>
        <pc:picChg chg="add mod">
          <ac:chgData name="Roberto Gallardo" userId="49a044883f185952" providerId="LiveId" clId="{DC8B0136-D5D0-4F8C-9C7F-DE972DA161EA}" dt="2023-03-03T22:51:10.670" v="203" actId="1076"/>
          <ac:picMkLst>
            <pc:docMk/>
            <pc:sldMk cId="1388671151" sldId="289"/>
            <ac:picMk id="7" creationId="{67D54781-0E60-26DF-A1EA-6D993AED66FE}"/>
          </ac:picMkLst>
        </pc:picChg>
      </pc:sldChg>
      <pc:sldChg chg="addSp modSp mod">
        <pc:chgData name="Roberto Gallardo" userId="49a044883f185952" providerId="LiveId" clId="{DC8B0136-D5D0-4F8C-9C7F-DE972DA161EA}" dt="2023-03-03T22:52:05.041" v="225" actId="1076"/>
        <pc:sldMkLst>
          <pc:docMk/>
          <pc:sldMk cId="2355376039" sldId="290"/>
        </pc:sldMkLst>
        <pc:picChg chg="add mod">
          <ac:chgData name="Roberto Gallardo" userId="49a044883f185952" providerId="LiveId" clId="{DC8B0136-D5D0-4F8C-9C7F-DE972DA161EA}" dt="2023-03-03T22:52:05.041" v="225" actId="1076"/>
          <ac:picMkLst>
            <pc:docMk/>
            <pc:sldMk cId="2355376039" sldId="290"/>
            <ac:picMk id="8" creationId="{B7F1B204-31A3-E21E-0C67-D0916A4464F3}"/>
          </ac:picMkLst>
        </pc:picChg>
      </pc:sldChg>
      <pc:sldChg chg="addSp modSp mod">
        <pc:chgData name="Roberto Gallardo" userId="49a044883f185952" providerId="LiveId" clId="{DC8B0136-D5D0-4F8C-9C7F-DE972DA161EA}" dt="2023-03-03T22:52:32.787" v="239" actId="1076"/>
        <pc:sldMkLst>
          <pc:docMk/>
          <pc:sldMk cId="3757257295" sldId="291"/>
        </pc:sldMkLst>
        <pc:picChg chg="add mod">
          <ac:chgData name="Roberto Gallardo" userId="49a044883f185952" providerId="LiveId" clId="{DC8B0136-D5D0-4F8C-9C7F-DE972DA161EA}" dt="2023-03-03T22:52:32.787" v="239" actId="1076"/>
          <ac:picMkLst>
            <pc:docMk/>
            <pc:sldMk cId="3757257295" sldId="291"/>
            <ac:picMk id="8" creationId="{CC8A40C0-0564-CB21-B3DB-2F19698A9ACA}"/>
          </ac:picMkLst>
        </pc:picChg>
      </pc:sldChg>
      <pc:sldChg chg="addSp modSp mod">
        <pc:chgData name="Roberto Gallardo" userId="49a044883f185952" providerId="LiveId" clId="{DC8B0136-D5D0-4F8C-9C7F-DE972DA161EA}" dt="2023-03-03T22:50:09.261" v="179" actId="1076"/>
        <pc:sldMkLst>
          <pc:docMk/>
          <pc:sldMk cId="1259856727" sldId="292"/>
        </pc:sldMkLst>
        <pc:picChg chg="add mod">
          <ac:chgData name="Roberto Gallardo" userId="49a044883f185952" providerId="LiveId" clId="{DC8B0136-D5D0-4F8C-9C7F-DE972DA161EA}" dt="2023-03-03T22:50:09.261" v="179" actId="1076"/>
          <ac:picMkLst>
            <pc:docMk/>
            <pc:sldMk cId="1259856727" sldId="292"/>
            <ac:picMk id="7" creationId="{B6B8B07B-E696-C0F2-6168-8258EBE139A8}"/>
          </ac:picMkLst>
        </pc:picChg>
      </pc:sldChg>
      <pc:sldChg chg="addSp modSp mod">
        <pc:chgData name="Roberto Gallardo" userId="49a044883f185952" providerId="LiveId" clId="{DC8B0136-D5D0-4F8C-9C7F-DE972DA161EA}" dt="2023-03-03T22:46:52.926" v="76" actId="1076"/>
        <pc:sldMkLst>
          <pc:docMk/>
          <pc:sldMk cId="3324519687" sldId="293"/>
        </pc:sldMkLst>
        <pc:picChg chg="add mod">
          <ac:chgData name="Roberto Gallardo" userId="49a044883f185952" providerId="LiveId" clId="{DC8B0136-D5D0-4F8C-9C7F-DE972DA161EA}" dt="2023-03-03T22:46:52.926" v="76" actId="1076"/>
          <ac:picMkLst>
            <pc:docMk/>
            <pc:sldMk cId="3324519687" sldId="293"/>
            <ac:picMk id="7" creationId="{E860DFCD-F450-79C7-9DDF-008C5BBE1351}"/>
          </ac:picMkLst>
        </pc:picChg>
      </pc:sldChg>
      <pc:sldChg chg="addSp modSp mod">
        <pc:chgData name="Roberto Gallardo" userId="49a044883f185952" providerId="LiveId" clId="{DC8B0136-D5D0-4F8C-9C7F-DE972DA161EA}" dt="2023-03-03T22:46:05.962" v="53" actId="1076"/>
        <pc:sldMkLst>
          <pc:docMk/>
          <pc:sldMk cId="3256182630" sldId="295"/>
        </pc:sldMkLst>
        <pc:picChg chg="add mod">
          <ac:chgData name="Roberto Gallardo" userId="49a044883f185952" providerId="LiveId" clId="{DC8B0136-D5D0-4F8C-9C7F-DE972DA161EA}" dt="2023-03-03T22:46:05.962" v="53" actId="1076"/>
          <ac:picMkLst>
            <pc:docMk/>
            <pc:sldMk cId="3256182630" sldId="295"/>
            <ac:picMk id="7" creationId="{621CB58B-8991-7D6E-9F4A-AAA1DB5521AD}"/>
          </ac:picMkLst>
        </pc:picChg>
      </pc:sldChg>
      <pc:sldChg chg="addSp modSp mod">
        <pc:chgData name="Roberto Gallardo" userId="49a044883f185952" providerId="LiveId" clId="{DC8B0136-D5D0-4F8C-9C7F-DE972DA161EA}" dt="2023-03-03T22:46:30.646" v="65" actId="1076"/>
        <pc:sldMkLst>
          <pc:docMk/>
          <pc:sldMk cId="4057156843" sldId="296"/>
        </pc:sldMkLst>
        <pc:picChg chg="add mod">
          <ac:chgData name="Roberto Gallardo" userId="49a044883f185952" providerId="LiveId" clId="{DC8B0136-D5D0-4F8C-9C7F-DE972DA161EA}" dt="2023-03-03T22:46:30.646" v="65" actId="1076"/>
          <ac:picMkLst>
            <pc:docMk/>
            <pc:sldMk cId="4057156843" sldId="296"/>
            <ac:picMk id="7" creationId="{0FF74595-2285-0452-1408-E5EA92AE7EA0}"/>
          </ac:picMkLst>
        </pc:picChg>
      </pc:sldChg>
      <pc:sldChg chg="addSp modSp mod">
        <pc:chgData name="Roberto Gallardo" userId="49a044883f185952" providerId="LiveId" clId="{DC8B0136-D5D0-4F8C-9C7F-DE972DA161EA}" dt="2023-03-03T22:45:20.066" v="40" actId="1076"/>
        <pc:sldMkLst>
          <pc:docMk/>
          <pc:sldMk cId="2080110827" sldId="297"/>
        </pc:sldMkLst>
        <pc:picChg chg="add mod">
          <ac:chgData name="Roberto Gallardo" userId="49a044883f185952" providerId="LiveId" clId="{DC8B0136-D5D0-4F8C-9C7F-DE972DA161EA}" dt="2023-03-03T22:45:20.066" v="40" actId="1076"/>
          <ac:picMkLst>
            <pc:docMk/>
            <pc:sldMk cId="2080110827" sldId="297"/>
            <ac:picMk id="6" creationId="{6426EF9B-521D-C8EB-6859-397C297A9AA1}"/>
          </ac:picMkLst>
        </pc:picChg>
      </pc:sldChg>
      <pc:sldChg chg="addSp modSp mod">
        <pc:chgData name="Roberto Gallardo" userId="49a044883f185952" providerId="LiveId" clId="{DC8B0136-D5D0-4F8C-9C7F-DE972DA161EA}" dt="2023-03-03T22:44:58.254" v="32" actId="1076"/>
        <pc:sldMkLst>
          <pc:docMk/>
          <pc:sldMk cId="1532666867" sldId="298"/>
        </pc:sldMkLst>
        <pc:picChg chg="add mod">
          <ac:chgData name="Roberto Gallardo" userId="49a044883f185952" providerId="LiveId" clId="{DC8B0136-D5D0-4F8C-9C7F-DE972DA161EA}" dt="2023-03-03T22:44:58.254" v="32" actId="1076"/>
          <ac:picMkLst>
            <pc:docMk/>
            <pc:sldMk cId="1532666867" sldId="298"/>
            <ac:picMk id="6" creationId="{31FC5669-5878-CF69-8397-24015DDE29DA}"/>
          </ac:picMkLst>
        </pc:picChg>
      </pc:sldChg>
      <pc:sldChg chg="addSp modSp mod">
        <pc:chgData name="Roberto Gallardo" userId="49a044883f185952" providerId="LiveId" clId="{DC8B0136-D5D0-4F8C-9C7F-DE972DA161EA}" dt="2023-03-03T22:51:40.310" v="213" actId="1076"/>
        <pc:sldMkLst>
          <pc:docMk/>
          <pc:sldMk cId="1951376777" sldId="299"/>
        </pc:sldMkLst>
        <pc:picChg chg="add mod">
          <ac:chgData name="Roberto Gallardo" userId="49a044883f185952" providerId="LiveId" clId="{DC8B0136-D5D0-4F8C-9C7F-DE972DA161EA}" dt="2023-03-03T22:51:40.310" v="213" actId="1076"/>
          <ac:picMkLst>
            <pc:docMk/>
            <pc:sldMk cId="1951376777" sldId="299"/>
            <ac:picMk id="7" creationId="{9E662080-E73A-AEF8-8A99-A2D570DCF950}"/>
          </ac:picMkLst>
        </pc:picChg>
      </pc:sldChg>
      <pc:sldChg chg="modSp mod">
        <pc:chgData name="Roberto Gallardo" userId="49a044883f185952" providerId="LiveId" clId="{DC8B0136-D5D0-4F8C-9C7F-DE972DA161EA}" dt="2023-02-25T13:19:43.949" v="2" actId="20577"/>
        <pc:sldMkLst>
          <pc:docMk/>
          <pc:sldMk cId="1515423683" sldId="302"/>
        </pc:sldMkLst>
        <pc:spChg chg="mod">
          <ac:chgData name="Roberto Gallardo" userId="49a044883f185952" providerId="LiveId" clId="{DC8B0136-D5D0-4F8C-9C7F-DE972DA161EA}" dt="2023-02-25T13:19:43.949" v="2" actId="20577"/>
          <ac:spMkLst>
            <pc:docMk/>
            <pc:sldMk cId="1515423683" sldId="302"/>
            <ac:spMk id="5" creationId="{6AE302AC-8931-4144-BE52-DD1A8BA82462}"/>
          </ac:spMkLst>
        </pc:spChg>
        <pc:spChg chg="mod">
          <ac:chgData name="Roberto Gallardo" userId="49a044883f185952" providerId="LiveId" clId="{DC8B0136-D5D0-4F8C-9C7F-DE972DA161EA}" dt="2023-02-25T13:19:40.751" v="1" actId="20577"/>
          <ac:spMkLst>
            <pc:docMk/>
            <pc:sldMk cId="1515423683" sldId="302"/>
            <ac:spMk id="9" creationId="{E362A98F-7DCD-C67C-23CE-1BE182A133B4}"/>
          </ac:spMkLst>
        </pc:spChg>
      </pc:sldChg>
      <pc:sldChg chg="del">
        <pc:chgData name="Roberto Gallardo" userId="49a044883f185952" providerId="LiveId" clId="{DC8B0136-D5D0-4F8C-9C7F-DE972DA161EA}" dt="2023-02-25T14:41:54.979" v="4" actId="47"/>
        <pc:sldMkLst>
          <pc:docMk/>
          <pc:sldMk cId="2841628872" sldId="303"/>
        </pc:sldMkLst>
      </pc:sldChg>
      <pc:sldChg chg="del">
        <pc:chgData name="Roberto Gallardo" userId="49a044883f185952" providerId="LiveId" clId="{DC8B0136-D5D0-4F8C-9C7F-DE972DA161EA}" dt="2023-02-25T14:41:54.979" v="4" actId="47"/>
        <pc:sldMkLst>
          <pc:docMk/>
          <pc:sldMk cId="3084076302" sldId="304"/>
        </pc:sldMkLst>
      </pc:sldChg>
      <pc:sldChg chg="del">
        <pc:chgData name="Roberto Gallardo" userId="49a044883f185952" providerId="LiveId" clId="{DC8B0136-D5D0-4F8C-9C7F-DE972DA161EA}" dt="2023-02-25T14:41:54.979" v="4" actId="47"/>
        <pc:sldMkLst>
          <pc:docMk/>
          <pc:sldMk cId="473712435" sldId="305"/>
        </pc:sldMkLst>
      </pc:sldChg>
      <pc:sldChg chg="add">
        <pc:chgData name="Roberto Gallardo" userId="49a044883f185952" providerId="LiveId" clId="{DC8B0136-D5D0-4F8C-9C7F-DE972DA161EA}" dt="2023-02-25T14:41:51.796" v="3"/>
        <pc:sldMkLst>
          <pc:docMk/>
          <pc:sldMk cId="3842843291" sldId="307"/>
        </pc:sldMkLst>
      </pc:sldChg>
      <pc:sldChg chg="add">
        <pc:chgData name="Roberto Gallardo" userId="49a044883f185952" providerId="LiveId" clId="{DC8B0136-D5D0-4F8C-9C7F-DE972DA161EA}" dt="2023-02-25T14:41:51.796" v="3"/>
        <pc:sldMkLst>
          <pc:docMk/>
          <pc:sldMk cId="3753341793" sldId="308"/>
        </pc:sldMkLst>
      </pc:sldChg>
      <pc:sldChg chg="add">
        <pc:chgData name="Roberto Gallardo" userId="49a044883f185952" providerId="LiveId" clId="{DC8B0136-D5D0-4F8C-9C7F-DE972DA161EA}" dt="2023-02-25T14:41:51.796" v="3"/>
        <pc:sldMkLst>
          <pc:docMk/>
          <pc:sldMk cId="413546371" sldId="309"/>
        </pc:sldMkLst>
      </pc:sldChg>
      <pc:sldChg chg="add">
        <pc:chgData name="Roberto Gallardo" userId="49a044883f185952" providerId="LiveId" clId="{DC8B0136-D5D0-4F8C-9C7F-DE972DA161EA}" dt="2023-02-25T14:41:51.796" v="3"/>
        <pc:sldMkLst>
          <pc:docMk/>
          <pc:sldMk cId="2612500976"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Perquimans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14946A0-CA8E-E586-F09C-3893E266C11C}"/>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413546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9993826E-F1F7-6DC0-9478-BB31DD99CEFA}"/>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612500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10" name="Picture 9" descr="Map&#10;&#10;Description automatically generated">
            <a:extLst>
              <a:ext uri="{FF2B5EF4-FFF2-40B4-BE49-F238E27FC236}">
                <a16:creationId xmlns:a16="http://schemas.microsoft.com/office/drawing/2014/main" id="{B308A145-1C50-32AD-7C22-AACBEC6B3E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8254" y="1026907"/>
            <a:ext cx="7599291" cy="5373893"/>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1FC5669-5878-CF69-8397-24015DDE29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3589" y="1028700"/>
            <a:ext cx="7608622" cy="5380491"/>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426EF9B-521D-C8EB-6859-397C297A9A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E517DD6-60C0-C1BE-DA64-D3E8F7853B7F}"/>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621CB58B-8991-7D6E-9F4A-AAA1DB5521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5" y="1428523"/>
            <a:ext cx="6362700" cy="449942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1CBB01F-2DF2-C055-4E9E-6C485E3B3F5C}"/>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0FF74595-2285-0452-1408-E5EA92AE7E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0" cy="4499429"/>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F7A02E45-2672-6EED-DE88-02B2ED62C976}"/>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E860DFCD-F450-79C7-9DDF-008C5BBE13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740"/>
            <a:ext cx="6362700" cy="4499429"/>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A5F8417-A2D8-6000-A887-939896B3C849}"/>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DBCFAA28-81C6-9D25-E8FC-9FCE562FB5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6" y="1426142"/>
            <a:ext cx="6362699" cy="4499428"/>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F5EAB90-0FC6-D132-1C4D-045E084910BC}"/>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5859502-585D-33A2-191B-8F45B65160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029"/>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462D0447-564B-A6C0-38D2-ACFE545E8FE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E76EC5B-55F9-9ECC-EDDF-EB4265D551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1118" y="1416698"/>
            <a:ext cx="6352508" cy="449222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4CC7E26E-856D-2676-3789-63FB1F62F6B3}"/>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74290E9D-CDA2-64E7-FCCD-E8512B1747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3343" y="1435359"/>
            <a:ext cx="6346258" cy="448780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FF6C0061-20EA-A071-8BCD-710664EB0674}"/>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2CA23FC-6E55-695F-AD0D-8EDDBA38A7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9981" y="1422172"/>
            <a:ext cx="6362700" cy="449942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C349A00-984E-730A-D912-164BB4E04882}"/>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75D2C63-9121-12F3-CB7C-DFE17354B8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2226"/>
            <a:ext cx="6372225" cy="4506164"/>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E345BB73-03A1-204A-62C9-907111FA841D}"/>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0F0A071-BD48-458D-1454-436FEE85E0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30859"/>
            <a:ext cx="6362699"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A77B0CDB-E712-CCA5-6727-4531733BC118}"/>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6B8B07B-E696-C0F2-6168-8258EBE139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0710"/>
            <a:ext cx="6361381" cy="449849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C5CE0524-51B6-6167-5255-FC886DDBAF4D}"/>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2D9153C-504A-2E72-1415-9305B7F36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4"/>
            <a:ext cx="6362700" cy="4499428"/>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2CFB5440-AFAC-FB10-D455-2061F7E7C49A}"/>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7D54781-0E60-26DF-A1EA-6D993AED66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5985"/>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E87372E0-F819-A8B3-1667-EEB7A0AE55BF}"/>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9E662080-E73A-AEF8-8A99-A2D570DCF9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5985"/>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004E06EF-639C-4892-43E9-67C708E96895}"/>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A picture containing map&#10;&#10;Description automatically generated">
            <a:extLst>
              <a:ext uri="{FF2B5EF4-FFF2-40B4-BE49-F238E27FC236}">
                <a16:creationId xmlns:a16="http://schemas.microsoft.com/office/drawing/2014/main" id="{B7F1B204-31A3-E21E-0C67-D0916A4464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212"/>
            <a:ext cx="6375162" cy="450824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B44E67D1-63A8-3FE1-5921-3A8C9B138B1C}"/>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0F27B93-9BEB-BF51-9103-AC92BEF83AC2}"/>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A picture containing schematic&#10;&#10;Description automatically generated">
            <a:extLst>
              <a:ext uri="{FF2B5EF4-FFF2-40B4-BE49-F238E27FC236}">
                <a16:creationId xmlns:a16="http://schemas.microsoft.com/office/drawing/2014/main" id="{CC8A40C0-0564-CB21-B3DB-2F19698A9A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22233"/>
            <a:ext cx="6362700"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3BBF57C-1209-D7EB-5467-AF4C57F5C3BD}"/>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844D818-919E-39D6-A4E6-D829A2040B74}"/>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7A9092C-D0ED-8647-6289-1BC541D187A6}"/>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439476"/>
            <a:ext cx="1198148" cy="2557413"/>
            <a:chOff x="10485745" y="3619587"/>
            <a:chExt cx="1198148" cy="25574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45795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0612" y="61770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6195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619587"/>
              <a:ext cx="0" cy="959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73275" y="5494936"/>
              <a:ext cx="0" cy="6630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26F57645-D62D-E9AD-F951-561EDF79E6A2}"/>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395546D-649D-B3FB-6C7F-146C5554500E}"/>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21CEBE1-98EC-5525-C48D-6A2998B228BB}"/>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6B2BCCD-3800-23E0-AA8B-B3E74AD7456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7C7FDD10-D389-0086-2B18-989699FDDEA9}"/>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D1DA9502-325C-AA8D-EF1F-DFB1A34231E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289CD5BC-3A5E-56A4-7DB4-43D871283733}"/>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842843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6116635-8BC0-38AE-A5B2-87D3AFA29B5D}"/>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753341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23</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4</cp:revision>
  <dcterms:created xsi:type="dcterms:W3CDTF">2022-07-04T13:32:28Z</dcterms:created>
  <dcterms:modified xsi:type="dcterms:W3CDTF">2023-03-03T22:52:38Z</dcterms:modified>
</cp:coreProperties>
</file>